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335" r:id="rId2"/>
    <p:sldId id="332" r:id="rId3"/>
    <p:sldId id="333" r:id="rId4"/>
    <p:sldId id="334" r:id="rId5"/>
    <p:sldId id="331" r:id="rId6"/>
    <p:sldId id="336" r:id="rId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FFA800"/>
    <a:srgbClr val="00A596"/>
    <a:srgbClr val="B9418C"/>
    <a:srgbClr val="FFE28F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39" autoAdjust="0"/>
    <p:restoredTop sz="95382" autoAdjust="0"/>
  </p:normalViewPr>
  <p:slideViewPr>
    <p:cSldViewPr snapToGrid="0" snapToObjects="1">
      <p:cViewPr varScale="1">
        <p:scale>
          <a:sx n="70" d="100"/>
          <a:sy n="70" d="100"/>
        </p:scale>
        <p:origin x="726" y="5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4D65EC-5F7C-4E21-BDFD-97DA0CF1B72D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C97045-DDCF-4F6C-8777-D657871AC1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3454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145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10073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4533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2833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976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240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732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6579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cham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229896" y="2949967"/>
            <a:ext cx="246237" cy="492420"/>
          </a:xfrm>
          <a:prstGeom prst="rect">
            <a:avLst/>
          </a:prstGeom>
          <a:noFill/>
        </p:spPr>
        <p:txBody>
          <a:bodyPr wrap="none" lIns="121896" tIns="60949" rIns="121896" bIns="60949" rtlCol="0">
            <a:spAutoFit/>
          </a:bodyPr>
          <a:lstStyle/>
          <a:p>
            <a:pPr defTabSz="609463"/>
            <a:endParaRPr 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87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0180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1688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7786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8974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3989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8254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9817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2762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BAA1F9-FA46-AF44-A0B8-EC0146313DB9}" type="datetimeFigureOut">
              <a:rPr lang="pt-BR" smtClean="0"/>
              <a:t>30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254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/>
          <p:cNvSpPr txBox="1">
            <a:spLocks/>
          </p:cNvSpPr>
          <p:nvPr/>
        </p:nvSpPr>
        <p:spPr>
          <a:xfrm>
            <a:off x="743940" y="1015255"/>
            <a:ext cx="7088195" cy="282991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1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spcBef>
                <a:spcPct val="20000"/>
              </a:spcBef>
            </a:pPr>
            <a:r>
              <a:rPr lang="pt-BR" sz="4267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S upgrade</a:t>
            </a:r>
          </a:p>
          <a:p>
            <a:pPr>
              <a:spcBef>
                <a:spcPct val="20000"/>
              </a:spcBef>
            </a:pPr>
            <a:r>
              <a:rPr lang="pt-BR" sz="4267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CICLO DA RECEITA</a:t>
            </a: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r>
              <a:rPr lang="pt-BR" sz="3200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07/08/17</a:t>
            </a:r>
            <a:endParaRPr lang="pt-BR" sz="3200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012477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tecnológico IC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296875"/>
            <a:ext cx="5435951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E ALOCAÇÃO DE TIME DEDICADO: TI, FÁBRICAS E MAPEAMENTO DE USUÁRIOS IMPACTADOS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O DO DESENHO DE ARQUITETURA DE INFRA E SEGURANÇA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DETALHAMENTO DAS REGRAS DE MELHORIAS ENVIADAS PELO USUÁRIO DE CRÉDITO E COBRANÇA,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752366" y="2309059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59" name="Straight Connector 456"/>
          <p:cNvCxnSpPr/>
          <p:nvPr/>
        </p:nvCxnSpPr>
        <p:spPr>
          <a:xfrm>
            <a:off x="869548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457435"/>
            <a:ext cx="3229251" cy="230832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junto ao fornecedor (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WeDo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) para definição das atividades do proje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com o time de Infra e segurança para definição de novo desenho de arquitetura  de Inf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com o time de gestão de testes para definição de estratégia e ambiente de testes dedicad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talhamento e priorização das regras de melhorias junto ao usuário para serem entregues em paralelo ao Upgrade.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384644" y="5077483"/>
            <a:ext cx="2783651" cy="46166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Detalhamento do desenho da solução de infra e sistemas.</a:t>
            </a:r>
            <a:endParaRPr lang="id-ID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5060441"/>
            <a:ext cx="3146552" cy="64633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nvolvimento das áreas necessárias para aprovação do desenho de solução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 estratégia de testes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802358" y="2309059"/>
            <a:ext cx="26867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DE PROPOSTAS, CONSOLIDAÇÃO E  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296115" y="1785970"/>
            <a:ext cx="547869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Desenho da Solução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813447" y="2309059"/>
            <a:ext cx="28255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CONSOLID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 ESTRATÉGIA DE TESTES.</a:t>
            </a:r>
          </a:p>
        </p:txBody>
      </p:sp>
      <p:sp>
        <p:nvSpPr>
          <p:cNvPr id="51" name="TextBox 431"/>
          <p:cNvSpPr txBox="1"/>
          <p:nvPr/>
        </p:nvSpPr>
        <p:spPr>
          <a:xfrm>
            <a:off x="9519568" y="5058036"/>
            <a:ext cx="2545055" cy="830997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GO para inicio do projeto e recebimento de cronograma </a:t>
            </a: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02629" y="554573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377"/>
          <p:cNvSpPr txBox="1"/>
          <p:nvPr/>
        </p:nvSpPr>
        <p:spPr>
          <a:xfrm>
            <a:off x="5704263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DSOL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52" name="TextBox 377"/>
          <p:cNvSpPr txBox="1"/>
          <p:nvPr/>
        </p:nvSpPr>
        <p:spPr>
          <a:xfrm>
            <a:off x="8734118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Financeira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96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</a:t>
            </a:r>
            <a:r>
              <a:rPr lang="pt-BR" sz="2400" dirty="0" err="1" smtClean="0">
                <a:solidFill>
                  <a:schemeClr val="bg1"/>
                </a:solidFill>
                <a:latin typeface="Simplon Oi Headline" pitchFamily="2" charset="0"/>
              </a:rPr>
              <a:t>transact</a:t>
            </a:r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 p/ (POWER CURVE)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418947" y="2337819"/>
            <a:ext cx="295196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LEVANTAMENTO/ESCRITA REQUISITOS E REGRAS: TI  + NEGÓCIO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595880" y="1765189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HO DE SOLUÇÃ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3666477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725522" y="2332460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ELABORAÇÃO DESENHO SOLUÇÃO 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102" name="Straight Connector 424"/>
          <p:cNvCxnSpPr/>
          <p:nvPr/>
        </p:nvCxnSpPr>
        <p:spPr>
          <a:xfrm flipV="1">
            <a:off x="1088266" y="4252717"/>
            <a:ext cx="0" cy="614705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738584" cy="181588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Agenda de reuniões junto ao fornecedor (EXPERIAN), área de negócio e TI para definição dos requisitos  e regras que farão parte do SD (solicitação de Demand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Definição  equipe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Abertura PRJ no Clarity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231840" y="5091131"/>
            <a:ext cx="2336449" cy="1169551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GO para fornecedor iniciar Desenho de solução (GO DSO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Inicio do estudo da estratégia testes</a:t>
            </a: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22888" y="5074089"/>
            <a:ext cx="2907469" cy="116955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nvolvimento das áreas necessárias para aprovação do desenho de solução e definição de faseamento, requisitos essenciais 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9184502" y="2350003"/>
            <a:ext cx="21294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RECEBIMENTO DE PROPOSTAS/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85421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ESCOPO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6113704" y="2322707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APROVAÇÃO 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DESENHO SOLUÇÃO 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APROVAÇÃO FINANCEIRA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60043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GO para inicio do projeto e recebimento de cronograma 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etapa de Aprovação  Financeira</a:t>
            </a:r>
            <a:endParaRPr lang="pt-BR" sz="1400" dirty="0"/>
          </a:p>
        </p:txBody>
      </p:sp>
      <p:sp>
        <p:nvSpPr>
          <p:cNvPr id="54" name="Estrela de 6 Pontas 53"/>
          <p:cNvSpPr/>
          <p:nvPr/>
        </p:nvSpPr>
        <p:spPr>
          <a:xfrm>
            <a:off x="11055635" y="6137008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2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3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5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56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830569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783469" y="4208260"/>
            <a:ext cx="0" cy="78142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a SOLUÇÃO FISCAL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109455" y="2394091"/>
            <a:ext cx="177498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EF.ESTRATÉGIA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PLANEJAMENTO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SOL</a:t>
            </a:r>
          </a:p>
        </p:txBody>
      </p:sp>
      <p:grpSp>
        <p:nvGrpSpPr>
          <p:cNvPr id="19" name="Group 378"/>
          <p:cNvGrpSpPr/>
          <p:nvPr/>
        </p:nvGrpSpPr>
        <p:grpSpPr>
          <a:xfrm>
            <a:off x="19164" y="3386023"/>
            <a:ext cx="1860160" cy="897466"/>
            <a:chOff x="9533" y="3285068"/>
            <a:chExt cx="925258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9536" y="4000500"/>
              <a:ext cx="925255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9533" y="3285068"/>
              <a:ext cx="925256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1884442" y="3386023"/>
            <a:ext cx="3164229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048671" y="3386023"/>
            <a:ext cx="5600568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10649239" y="3386023"/>
            <a:ext cx="731001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-26450" y="3666769"/>
            <a:ext cx="18710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AGO/17 – OUT/17</a:t>
            </a:r>
            <a:endParaRPr lang="id-ID" dirty="0"/>
          </a:p>
        </p:txBody>
      </p:sp>
      <p:sp>
        <p:nvSpPr>
          <p:cNvPr id="40" name="TextBox 418"/>
          <p:cNvSpPr txBox="1"/>
          <p:nvPr/>
        </p:nvSpPr>
        <p:spPr>
          <a:xfrm>
            <a:off x="2467738" y="3652701"/>
            <a:ext cx="1872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NOV/17 – MAI/18</a:t>
            </a:r>
            <a:endParaRPr lang="id-ID" dirty="0"/>
          </a:p>
        </p:txBody>
      </p:sp>
      <p:sp>
        <p:nvSpPr>
          <p:cNvPr id="41" name="TextBox 420"/>
          <p:cNvSpPr txBox="1"/>
          <p:nvPr/>
        </p:nvSpPr>
        <p:spPr>
          <a:xfrm>
            <a:off x="10556665" y="3671577"/>
            <a:ext cx="9380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 smtClean="0"/>
              <a:t>ABR/19</a:t>
            </a:r>
            <a:endParaRPr lang="id-ID" dirty="0"/>
          </a:p>
        </p:txBody>
      </p:sp>
      <p:cxnSp>
        <p:nvCxnSpPr>
          <p:cNvPr id="44" name="Straight Connector 424"/>
          <p:cNvCxnSpPr/>
          <p:nvPr/>
        </p:nvCxnSpPr>
        <p:spPr>
          <a:xfrm>
            <a:off x="8339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1795205" y="1821461"/>
            <a:ext cx="21498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VOLVIMENTO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1879875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037332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1924854" y="2459070"/>
            <a:ext cx="23144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CONFIGURAÇÃ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DESENVOLVIMENT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INFRAESTRUTURA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10656567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708725" y="3650376"/>
            <a:ext cx="19623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JUN/18 – MAR/19</a:t>
            </a:r>
            <a:endParaRPr lang="id-ID" dirty="0"/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553693" y="4252718"/>
            <a:ext cx="0" cy="70366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206297" cy="160043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Definição da estratégia de </a:t>
            </a:r>
            <a:r>
              <a:rPr lang="pt-BR" sz="1400" dirty="0" err="1" smtClean="0">
                <a:solidFill>
                  <a:srgbClr val="002060"/>
                </a:solidFill>
              </a:rPr>
              <a:t>faseamento</a:t>
            </a:r>
            <a:r>
              <a:rPr lang="pt-BR" sz="1400" dirty="0" smtClean="0">
                <a:solidFill>
                  <a:srgbClr val="002060"/>
                </a:solidFill>
              </a:rPr>
              <a:t> do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do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e aprovação do Desenho da Solução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5628062" y="4244078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2651100" y="4997209"/>
            <a:ext cx="2336449" cy="138499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Configurações e desenvolvi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Testes unit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Disponibilização da infraestrutu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H="1" flipV="1">
            <a:off x="2858560" y="4268638"/>
            <a:ext cx="11562" cy="68774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5392595" y="4997209"/>
            <a:ext cx="2907469" cy="138499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Testes integrados e UAT de todos os cenários previs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Correções de err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laboração do material de trein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Aplicação do treinamento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10717887" y="2350003"/>
            <a:ext cx="12569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PREPARAÇÃO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GO LIVE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SUPORTE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-617464" y="1826074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PLANEJ/DSOL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058627" y="2421181"/>
            <a:ext cx="1858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ESTE INTEGRADO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UAT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REINAMENTO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10510672" y="1784103"/>
            <a:ext cx="17985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GO LIVE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169551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 smtClean="0">
                <a:solidFill>
                  <a:schemeClr val="accent2">
                    <a:lumMod val="75000"/>
                  </a:schemeClr>
                </a:solidFill>
              </a:rPr>
              <a:t>Prepação</a:t>
            </a: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para 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Operação Assistida (3 meses)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a conclusão da etapa de Planejamento</a:t>
            </a:r>
            <a:endParaRPr lang="pt-BR" sz="1400" dirty="0"/>
          </a:p>
        </p:txBody>
      </p:sp>
      <p:sp>
        <p:nvSpPr>
          <p:cNvPr id="46" name="TextBox 428"/>
          <p:cNvSpPr txBox="1"/>
          <p:nvPr/>
        </p:nvSpPr>
        <p:spPr>
          <a:xfrm>
            <a:off x="4410613" y="1789309"/>
            <a:ext cx="3500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TESTES E TREINAMENT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060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48657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o antifraude RAID-FM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160395"/>
            <a:ext cx="2951969" cy="13311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E ALOCAÇÃO DE TIME DEDICADO: TI, FÁBRICAS E USUÁRIO EM ANDAMENTO. </a:t>
            </a:r>
            <a:endParaRPr lang="pt-BR" dirty="0" smtClean="0">
              <a:solidFill>
                <a:schemeClr val="accent1">
                  <a:lumMod val="50000"/>
                </a:schemeClr>
              </a:solidFill>
              <a:latin typeface="Simplon BP Regular" pitchFamily="2" charset="0"/>
            </a:endParaRP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       </a:t>
            </a:r>
            <a:r>
              <a:rPr lang="pt-BR" dirty="0" smtClean="0">
                <a:solidFill>
                  <a:srgbClr val="FF0000"/>
                </a:solidFill>
                <a:latin typeface="Simplon BP Regular" pitchFamily="2" charset="0"/>
              </a:rPr>
              <a:t>(</a:t>
            </a:r>
            <a:r>
              <a:rPr lang="pt-BR" dirty="0" smtClean="0">
                <a:solidFill>
                  <a:srgbClr val="FF0000"/>
                </a:solidFill>
                <a:latin typeface="Simplon BP Regular" pitchFamily="2" charset="0"/>
              </a:rPr>
              <a:t>Pendente PMO e AN)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ADO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PROCESSO INFRA</a:t>
            </a:r>
          </a:p>
          <a:p>
            <a:pPr marL="171450" indent="-171450">
              <a:buFontTx/>
              <a:buChar char="-"/>
            </a:pP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391160" y="1792485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FASE: SCOPING PROGRAMA 1 E 2</a:t>
            </a:r>
          </a:p>
        </p:txBody>
      </p:sp>
      <p:cxnSp>
        <p:nvCxnSpPr>
          <p:cNvPr id="48" name="Straight Connector 429"/>
          <p:cNvCxnSpPr/>
          <p:nvPr/>
        </p:nvCxnSpPr>
        <p:spPr>
          <a:xfrm>
            <a:off x="3188799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247843" y="2332460"/>
            <a:ext cx="2649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SCOPING: TI E NEGÓCIO AF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MODELAGEM PROCESSOS NAS ÁREAS DE NEGÓCIO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NGENHARIA REVERSA E DAS</a:t>
            </a: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52718"/>
            <a:ext cx="0" cy="442112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757665"/>
            <a:ext cx="3049275" cy="156966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pt-BR" sz="1200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executivo da abordagem de </a:t>
            </a:r>
            <a:r>
              <a:rPr lang="pt-BR" sz="1200" dirty="0">
                <a:solidFill>
                  <a:srgbClr val="002060"/>
                </a:solidFill>
                <a:latin typeface="Simplon BP Regular" pitchFamily="2" charset="0"/>
              </a:rPr>
              <a:t>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entregas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em 23 ondas definidas pelo usuário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finição 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equipe dedicada ao projeto (GPs TI + GP WEDO + GPs negócio + PMO + AN + GT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RT´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LT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Usuários +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Operação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bertura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o PRJ24506 em Infra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177248" y="4777231"/>
            <a:ext cx="2991048" cy="2123658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Realização de trabalho de </a:t>
            </a:r>
            <a:r>
              <a:rPr lang="pt-BR" sz="1200" dirty="0" err="1">
                <a:solidFill>
                  <a:srgbClr val="00A596"/>
                </a:solidFill>
                <a:latin typeface="Simplon BP Regular" pitchFamily="2" charset="0"/>
              </a:rPr>
              <a:t>scoping</a:t>
            </a:r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 e  modelagem de processos nas diversas áreas de negócio envolvidas (pendente contratação consultoria)</a:t>
            </a:r>
          </a:p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Necessidade de levantamento das regras atuais existentes no AF legado e elaboração de desenho de arquitetura consolidado.</a:t>
            </a:r>
          </a:p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Inicio das atividades WEDO previsto para 18/09 em BH, juntamente com a entrega do ambiente de DEV.</a:t>
            </a:r>
            <a:endParaRPr lang="id-ID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426193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5060441"/>
            <a:ext cx="3146552" cy="156966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Abertura de PRJ no </a:t>
            </a:r>
            <a:r>
              <a:rPr lang="pt-BR" sz="1200" dirty="0" err="1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e Inicio da etapa de DSOL das ondas 2 e 3 (prevenção TV e Oi Total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2P)</a:t>
            </a:r>
          </a:p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Inicio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previsto das atividade de DSOL em 25/10 em BH com o usuário.</a:t>
            </a:r>
          </a:p>
          <a:p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Liberação de ambientes HML para instalação de framework </a:t>
            </a:r>
            <a:r>
              <a:rPr lang="pt-BR" sz="1200" dirty="0" err="1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vanila</a:t>
            </a: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RAID-FMS e gestão de acessos em 25/10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993430" y="2309059"/>
            <a:ext cx="26867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DESENVOLVIMENTO ONDAS 2 E 3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ELABORAÇÃO DESENHO DE SOLUÇÃO ONDA 4 (TV ONLINE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78597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WARM-UP FASE 0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949927" y="2309059"/>
            <a:ext cx="2992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LABOR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ONDAS 2 E 3 (OFFLINE)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INSTALAÇÃO FRAMEWORK VANILA</a:t>
            </a: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PROGRAMA 1 (PREVENÇÃO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519568" y="4771428"/>
            <a:ext cx="2545055" cy="212365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onstrução de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streams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SIAF, SAC e SINN e desenvolvimento de regras para prevenção a fraudes off-line em DEV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Abertura de PRJ 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inicio da etapa de DSOL da onda 4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OiTotal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3P (análise de crédit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Transact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Score exter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earSale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)</a:t>
            </a:r>
          </a:p>
          <a:p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+ Expectativa de ambiente PRD em 23/11.</a:t>
            </a:r>
            <a:endParaRPr lang="id-ID" sz="12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92438" y="648535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880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>
                <a:solidFill>
                  <a:srgbClr val="A02BFF"/>
                </a:solidFill>
                <a:latin typeface="Simplon Oi Headline"/>
                <a:cs typeface="Simplon Oi Headline"/>
              </a:rPr>
              <a:t>Pontos de alinhamento – ti / negócio</a:t>
            </a: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1014523"/>
            <a:ext cx="11951243" cy="58434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ontos de atenção para alinhamento do Projet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r abordagem de entrega em Ondas (</a:t>
            </a:r>
            <a:r>
              <a:rPr lang="pt-BR" sz="1867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é-definição</a:t>
            </a: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de 23 ondas pelo usuário) priorizando maiores vulnerabilidade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alocação de times dedicados (GPs TI + GP Fornecedor + GP Negócio + PMO + RN + GT + </a:t>
            </a:r>
            <a:r>
              <a:rPr lang="pt-BR" sz="1867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Ts</a:t>
            </a: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</a:t>
            </a:r>
            <a:r>
              <a:rPr lang="pt-BR" sz="1867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Ts</a:t>
            </a: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Usuários + Técnicos Fornecedor) x recursos disponívei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fra-estrutura dedicada para condução dos trabalhos em localidades distintas (RJ/MG/Portugal), pois a expertise de antifraude da </a:t>
            </a:r>
            <a:r>
              <a:rPr lang="pt-BR" sz="1867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WeDo</a:t>
            </a: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stá em Portugal, o usuário principal está em BH e a Ti no Ri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levantamento de regras atuais (Engenharia Revers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corrência e sinergia com outros Projetos (Credito, Oi Vende, Mediação, OCS, CRM </a:t>
            </a:r>
            <a:r>
              <a:rPr lang="pt-BR" sz="1867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oud</a:t>
            </a: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Unific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trabalho de </a:t>
            </a:r>
            <a:r>
              <a:rPr lang="pt-BR" sz="1867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coping</a:t>
            </a: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 modelagem de processos nas áreas de negócio (Usuário) - consultoria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mpacto em processos estratégicos de negócio - Venda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integrações adicionais as já existentes e uso de big data</a:t>
            </a:r>
          </a:p>
          <a:p>
            <a:pPr>
              <a:spcBef>
                <a:spcPts val="1067"/>
              </a:spcBef>
            </a:pPr>
            <a:endParaRPr lang="pt-BR" sz="1867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>
              <a:spcBef>
                <a:spcPts val="1067"/>
              </a:spcBef>
            </a:pPr>
            <a:r>
              <a:rPr lang="pt-BR" sz="1867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euniões de trabalho nas próximas duas semanas para posterior alinhamento executivo.</a:t>
            </a:r>
          </a:p>
          <a:p>
            <a:pPr>
              <a:spcBef>
                <a:spcPts val="1067"/>
              </a:spcBef>
            </a:pPr>
            <a:endParaRPr lang="pt-BR" sz="1867" b="1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20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335</TotalTime>
  <Words>1089</Words>
  <Application>Microsoft Office PowerPoint</Application>
  <PresentationFormat>Widescreen</PresentationFormat>
  <Paragraphs>148</Paragraphs>
  <Slides>6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Simplon BP Medium</vt:lpstr>
      <vt:lpstr>Simplon BP Regular</vt:lpstr>
      <vt:lpstr>Simplon Oi Headline</vt:lpstr>
      <vt:lpstr>Wingdings</vt:lpstr>
      <vt:lpstr>Tema do Offic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ontos de alinhamento – ti / negóci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. Cinelli</dc:creator>
  <cp:lastModifiedBy>Leandro Marcos Frossard</cp:lastModifiedBy>
  <cp:revision>269</cp:revision>
  <dcterms:created xsi:type="dcterms:W3CDTF">2016-02-02T17:08:20Z</dcterms:created>
  <dcterms:modified xsi:type="dcterms:W3CDTF">2017-08-30T23:47:46Z</dcterms:modified>
</cp:coreProperties>
</file>